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sldIdLst>
    <p:sldId id="256" r:id="rId2"/>
  </p:sldIdLst>
  <p:sldSz cx="7772400" cy="10058400"/>
  <p:notesSz cx="7086600" cy="93726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3" d="100"/>
          <a:sy n="73" d="100"/>
        </p:scale>
        <p:origin x="223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72428" y="4829700"/>
            <a:ext cx="5829300" cy="353174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2295" spc="-33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2428" y="5811522"/>
            <a:ext cx="5829300" cy="196208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7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white - EMF">
            <a:extLst>
              <a:ext uri="{FF2B5EF4-FFF2-40B4-BE49-F238E27FC236}">
                <a16:creationId xmlns:a16="http://schemas.microsoft.com/office/drawing/2014/main" id="{15F18C2F-44AE-47B2-AF66-6F44850A45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72428" y="859156"/>
            <a:ext cx="870981" cy="42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2582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013" y="2331"/>
          <a:ext cx="1012" cy="2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13" y="2331"/>
                        <a:ext cx="1012" cy="23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9694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1641" y="1741880"/>
            <a:ext cx="3428824" cy="1327286"/>
          </a:xfrm>
        </p:spPr>
        <p:txBody>
          <a:bodyPr wrap="square">
            <a:spAutoFit/>
          </a:bodyPr>
          <a:lstStyle>
            <a:lvl1pPr marL="0" indent="0">
              <a:spcBef>
                <a:spcPts val="765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875" b="0">
                <a:latin typeface="+mn-lt"/>
              </a:defRPr>
            </a:lvl1pPr>
            <a:lvl2pPr marL="159740" indent="0">
              <a:buFont typeface="Wingdings" panose="05000000000000000000" pitchFamily="2" charset="2"/>
              <a:buNone/>
              <a:defRPr sz="1500" b="0"/>
            </a:lvl2pPr>
            <a:lvl3pPr marL="281776" indent="0">
              <a:buFont typeface="Wingdings" panose="05000000000000000000" pitchFamily="2" charset="2"/>
              <a:buNone/>
              <a:tabLst/>
              <a:defRPr sz="1375" b="0"/>
            </a:lvl3pPr>
            <a:lvl4pPr marL="407781" indent="0">
              <a:buFont typeface="Wingdings" panose="05000000000000000000" pitchFamily="2" charset="2"/>
              <a:buNone/>
              <a:defRPr sz="1375" b="0"/>
            </a:lvl4pPr>
            <a:lvl5pPr marL="533788" indent="0">
              <a:buFont typeface="Wingdings" panose="05000000000000000000" pitchFamily="2" charset="2"/>
              <a:buNone/>
              <a:tabLst/>
              <a:defRPr sz="1375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71937" y="1741878"/>
            <a:ext cx="3428824" cy="1449115"/>
          </a:xfrm>
        </p:spPr>
        <p:txBody>
          <a:bodyPr wrap="square">
            <a:spAutoFit/>
          </a:bodyPr>
          <a:lstStyle>
            <a:lvl1pPr marL="0" indent="0">
              <a:spcBef>
                <a:spcPts val="765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187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159740" indent="0">
              <a:buFont typeface="Arial" panose="020B0604020202020204" pitchFamily="34" charset="0"/>
              <a:buNone/>
              <a:defRPr lang="en-US" sz="15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81776" indent="0">
              <a:buFont typeface="Arial" panose="020B0604020202020204" pitchFamily="34" charset="0"/>
              <a:buNone/>
              <a:tabLst/>
              <a:defRPr lang="en-US" sz="137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07781" indent="0">
              <a:buFont typeface="Arial" panose="020B0604020202020204" pitchFamily="34" charset="0"/>
              <a:buNone/>
              <a:defRPr lang="en-US" sz="137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533788" indent="0">
              <a:buFont typeface="Arial" panose="020B0604020202020204" pitchFamily="34" charset="0"/>
              <a:buNone/>
              <a:tabLst/>
              <a:defRPr lang="en-US" sz="137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321464" marR="0" lvl="0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321464" marR="0" lvl="1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321464" marR="0" lvl="2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321464" marR="0" lvl="3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321464" marR="0" lvl="4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52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72428" y="4829700"/>
            <a:ext cx="5829300" cy="353174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2295" spc="-33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title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C904686-1582-4110-8932-0DA530CDB97B}"/>
              </a:ext>
            </a:extLst>
          </p:cNvPr>
          <p:cNvGrpSpPr/>
          <p:nvPr userDrawn="1"/>
        </p:nvGrpSpPr>
        <p:grpSpPr>
          <a:xfrm>
            <a:off x="4850669" y="2061004"/>
            <a:ext cx="2054418" cy="5431207"/>
            <a:chOff x="7578734" y="1512789"/>
            <a:chExt cx="3222616" cy="370309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C865DBD-317F-442F-B394-977884445547}"/>
                </a:ext>
              </a:extLst>
            </p:cNvPr>
            <p:cNvGrpSpPr/>
            <p:nvPr/>
          </p:nvGrpSpPr>
          <p:grpSpPr>
            <a:xfrm>
              <a:off x="7578734" y="1512789"/>
              <a:ext cx="3222616" cy="3703096"/>
              <a:chOff x="7830194" y="1899080"/>
              <a:chExt cx="2518414" cy="2893903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A76E8D15-F1DA-4A78-9BF9-47CAC847D0DF}"/>
                  </a:ext>
                </a:extLst>
              </p:cNvPr>
              <p:cNvSpPr/>
              <p:nvPr/>
            </p:nvSpPr>
            <p:spPr bwMode="auto">
              <a:xfrm>
                <a:off x="7830194" y="2274571"/>
                <a:ext cx="2518414" cy="2518412"/>
              </a:xfrm>
              <a:prstGeom prst="ellipse">
                <a:avLst/>
              </a:prstGeom>
              <a:noFill/>
              <a:ln w="76200" cap="sq">
                <a:solidFill>
                  <a:schemeClr val="tx1">
                    <a:alpha val="1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829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48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3" name="Graphic 7">
                <a:extLst>
                  <a:ext uri="{FF2B5EF4-FFF2-40B4-BE49-F238E27FC236}">
                    <a16:creationId xmlns:a16="http://schemas.microsoft.com/office/drawing/2014/main" id="{B64B2ADD-47A5-4B19-9B54-50FCFF49A3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7942363" y="2386739"/>
                <a:ext cx="2294075" cy="2294075"/>
              </a:xfrm>
              <a:prstGeom prst="rect">
                <a:avLst/>
              </a:prstGeom>
            </p:spPr>
          </p:pic>
          <p:sp>
            <p:nvSpPr>
              <p:cNvPr id="14" name="TextBox 8">
                <a:extLst>
                  <a:ext uri="{FF2B5EF4-FFF2-40B4-BE49-F238E27FC236}">
                    <a16:creationId xmlns:a16="http://schemas.microsoft.com/office/drawing/2014/main" id="{A0EB55C6-8F14-40AA-97C8-48121E93750F}"/>
                  </a:ext>
                </a:extLst>
              </p:cNvPr>
              <p:cNvSpPr txBox="1"/>
              <p:nvPr/>
            </p:nvSpPr>
            <p:spPr>
              <a:xfrm>
                <a:off x="8947534" y="1899080"/>
                <a:ext cx="222051" cy="1463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785" b="1" dirty="0">
                    <a:gradFill>
                      <a:gsLst>
                        <a:gs pos="2917">
                          <a:schemeClr val="tx1">
                            <a:alpha val="20000"/>
                          </a:schemeClr>
                        </a:gs>
                        <a:gs pos="30000">
                          <a:schemeClr val="tx1">
                            <a:alpha val="20000"/>
                          </a:schemeClr>
                        </a:gs>
                      </a:gsLst>
                      <a:lin ang="5400000" scaled="0"/>
                    </a:gradFill>
                  </a:rPr>
                  <a:t>N</a:t>
                </a:r>
              </a:p>
            </p:txBody>
          </p:sp>
        </p:grpSp>
        <p:sp>
          <p:nvSpPr>
            <p:cNvPr id="11" name="key">
              <a:extLst>
                <a:ext uri="{FF2B5EF4-FFF2-40B4-BE49-F238E27FC236}">
                  <a16:creationId xmlns:a16="http://schemas.microsoft.com/office/drawing/2014/main" id="{55D14D35-FB4B-48D8-BA1B-5B586056D50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700000">
              <a:off x="9002415" y="3421699"/>
              <a:ext cx="367646" cy="365760"/>
            </a:xfrm>
            <a:custGeom>
              <a:avLst/>
              <a:gdLst>
                <a:gd name="T0" fmla="*/ 175 w 330"/>
                <a:gd name="T1" fmla="*/ 198 h 328"/>
                <a:gd name="T2" fmla="*/ 109 w 330"/>
                <a:gd name="T3" fmla="*/ 220 h 328"/>
                <a:gd name="T4" fmla="*/ 0 w 330"/>
                <a:gd name="T5" fmla="*/ 110 h 328"/>
                <a:gd name="T6" fmla="*/ 109 w 330"/>
                <a:gd name="T7" fmla="*/ 0 h 328"/>
                <a:gd name="T8" fmla="*/ 219 w 330"/>
                <a:gd name="T9" fmla="*/ 110 h 328"/>
                <a:gd name="T10" fmla="*/ 214 w 330"/>
                <a:gd name="T11" fmla="*/ 143 h 328"/>
                <a:gd name="T12" fmla="*/ 330 w 330"/>
                <a:gd name="T13" fmla="*/ 258 h 328"/>
                <a:gd name="T14" fmla="*/ 330 w 330"/>
                <a:gd name="T15" fmla="*/ 328 h 328"/>
                <a:gd name="T16" fmla="*/ 264 w 330"/>
                <a:gd name="T17" fmla="*/ 328 h 328"/>
                <a:gd name="T18" fmla="*/ 264 w 330"/>
                <a:gd name="T19" fmla="*/ 283 h 328"/>
                <a:gd name="T20" fmla="*/ 221 w 330"/>
                <a:gd name="T21" fmla="*/ 283 h 328"/>
                <a:gd name="T22" fmla="*/ 221 w 330"/>
                <a:gd name="T23" fmla="*/ 239 h 328"/>
                <a:gd name="T24" fmla="*/ 175 w 330"/>
                <a:gd name="T25" fmla="*/ 239 h 328"/>
                <a:gd name="T26" fmla="*/ 175 w 330"/>
                <a:gd name="T27" fmla="*/ 198 h 328"/>
                <a:gd name="T28" fmla="*/ 76 w 330"/>
                <a:gd name="T29" fmla="*/ 91 h 328"/>
                <a:gd name="T30" fmla="*/ 91 w 330"/>
                <a:gd name="T31" fmla="*/ 76 h 328"/>
                <a:gd name="T32" fmla="*/ 76 w 330"/>
                <a:gd name="T33" fmla="*/ 60 h 328"/>
                <a:gd name="T34" fmla="*/ 60 w 330"/>
                <a:gd name="T35" fmla="*/ 76 h 328"/>
                <a:gd name="T36" fmla="*/ 76 w 330"/>
                <a:gd name="T37" fmla="*/ 91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328">
                  <a:moveTo>
                    <a:pt x="175" y="198"/>
                  </a:moveTo>
                  <a:cubicBezTo>
                    <a:pt x="157" y="212"/>
                    <a:pt x="134" y="220"/>
                    <a:pt x="109" y="220"/>
                  </a:cubicBez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09" y="0"/>
                  </a:cubicBezTo>
                  <a:cubicBezTo>
                    <a:pt x="170" y="0"/>
                    <a:pt x="219" y="49"/>
                    <a:pt x="219" y="110"/>
                  </a:cubicBezTo>
                  <a:cubicBezTo>
                    <a:pt x="219" y="122"/>
                    <a:pt x="217" y="133"/>
                    <a:pt x="214" y="143"/>
                  </a:cubicBezTo>
                  <a:cubicBezTo>
                    <a:pt x="330" y="258"/>
                    <a:pt x="330" y="258"/>
                    <a:pt x="330" y="25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264" y="328"/>
                    <a:pt x="264" y="328"/>
                    <a:pt x="264" y="328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1" y="239"/>
                    <a:pt x="221" y="239"/>
                    <a:pt x="221" y="239"/>
                  </a:cubicBezTo>
                  <a:cubicBezTo>
                    <a:pt x="175" y="239"/>
                    <a:pt x="175" y="239"/>
                    <a:pt x="175" y="239"/>
                  </a:cubicBezTo>
                  <a:lnTo>
                    <a:pt x="175" y="198"/>
                  </a:lnTo>
                  <a:close/>
                  <a:moveTo>
                    <a:pt x="76" y="91"/>
                  </a:moveTo>
                  <a:cubicBezTo>
                    <a:pt x="84" y="91"/>
                    <a:pt x="91" y="84"/>
                    <a:pt x="91" y="76"/>
                  </a:cubicBezTo>
                  <a:cubicBezTo>
                    <a:pt x="91" y="67"/>
                    <a:pt x="84" y="60"/>
                    <a:pt x="76" y="60"/>
                  </a:cubicBezTo>
                  <a:cubicBezTo>
                    <a:pt x="67" y="60"/>
                    <a:pt x="60" y="67"/>
                    <a:pt x="60" y="76"/>
                  </a:cubicBezTo>
                  <a:cubicBezTo>
                    <a:pt x="60" y="84"/>
                    <a:pt x="67" y="91"/>
                    <a:pt x="76" y="91"/>
                  </a:cubicBezTo>
                  <a:close/>
                </a:path>
              </a:pathLst>
            </a:custGeom>
            <a:solidFill>
              <a:schemeClr val="accent1"/>
            </a:solidFill>
            <a:ln w="44450" cap="sq">
              <a:solidFill>
                <a:schemeClr val="accent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48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8843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4" y="1854236"/>
            <a:ext cx="7024307" cy="1028358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145729" indent="0">
              <a:buNone/>
              <a:defRPr/>
            </a:lvl2pPr>
            <a:lvl3pPr marL="291458" indent="0">
              <a:buNone/>
              <a:defRPr/>
            </a:lvl3pPr>
            <a:lvl4pPr marL="437187" indent="0">
              <a:buNone/>
              <a:defRPr/>
            </a:lvl4pPr>
            <a:lvl5pPr marL="58291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64335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2427" y="2105398"/>
            <a:ext cx="7024307" cy="102835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09045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2428" y="2104814"/>
            <a:ext cx="3322701" cy="1028358"/>
          </a:xfrm>
        </p:spPr>
        <p:txBody>
          <a:bodyPr wrap="square">
            <a:spAutoFit/>
          </a:bodyPr>
          <a:lstStyle>
            <a:lvl1pPr marL="0" indent="0">
              <a:spcBef>
                <a:spcPts val="78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785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162934" indent="0">
              <a:buFont typeface="Wingdings" panose="05000000000000000000" pitchFamily="2" charset="2"/>
              <a:buNone/>
              <a:defRPr sz="1275" b="0"/>
            </a:lvl2pPr>
            <a:lvl3pPr marL="287410" indent="0">
              <a:buFont typeface="Wingdings" panose="05000000000000000000" pitchFamily="2" charset="2"/>
              <a:buNone/>
              <a:tabLst/>
              <a:defRPr sz="1020" b="0"/>
            </a:lvl3pPr>
            <a:lvl4pPr marL="415934" indent="0">
              <a:buFont typeface="Wingdings" panose="05000000000000000000" pitchFamily="2" charset="2"/>
              <a:buNone/>
              <a:defRPr sz="893" b="0"/>
            </a:lvl4pPr>
            <a:lvl5pPr marL="544459" indent="0">
              <a:buFont typeface="Wingdings" panose="05000000000000000000" pitchFamily="2" charset="2"/>
              <a:buNone/>
              <a:tabLst/>
              <a:defRPr sz="893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8197" y="2104814"/>
            <a:ext cx="3322701" cy="1028358"/>
          </a:xfrm>
        </p:spPr>
        <p:txBody>
          <a:bodyPr wrap="square">
            <a:spAutoFit/>
          </a:bodyPr>
          <a:lstStyle>
            <a:lvl1pPr marL="0" indent="0">
              <a:spcBef>
                <a:spcPts val="78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785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162934" indent="0">
              <a:buFont typeface="Wingdings" panose="05000000000000000000" pitchFamily="2" charset="2"/>
              <a:buNone/>
              <a:defRPr sz="1275" b="0"/>
            </a:lvl2pPr>
            <a:lvl3pPr marL="287410" indent="0">
              <a:buFont typeface="Wingdings" panose="05000000000000000000" pitchFamily="2" charset="2"/>
              <a:buNone/>
              <a:tabLst/>
              <a:defRPr sz="1020" b="0"/>
            </a:lvl3pPr>
            <a:lvl4pPr marL="415934" indent="0">
              <a:buFont typeface="Wingdings" panose="05000000000000000000" pitchFamily="2" charset="2"/>
              <a:buNone/>
              <a:defRPr sz="893" b="0"/>
            </a:lvl4pPr>
            <a:lvl5pPr marL="544459" indent="0">
              <a:buFont typeface="Wingdings" panose="05000000000000000000" pitchFamily="2" charset="2"/>
              <a:buNone/>
              <a:tabLst/>
              <a:defRPr sz="893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002365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2428" y="2108305"/>
            <a:ext cx="3322701" cy="1028358"/>
          </a:xfrm>
        </p:spPr>
        <p:txBody>
          <a:bodyPr wrap="square">
            <a:spAutoFit/>
          </a:bodyPr>
          <a:lstStyle>
            <a:lvl1pPr marL="147753" indent="-147753">
              <a:spcBef>
                <a:spcPts val="78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1785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72230" indent="-109297">
              <a:buFont typeface="Wingdings" panose="05000000000000000000" pitchFamily="2" charset="2"/>
              <a:buChar char=""/>
              <a:defRPr sz="1275" b="0"/>
            </a:lvl2pPr>
            <a:lvl3pPr marL="407839" indent="-120429">
              <a:buFont typeface="Wingdings" panose="05000000000000000000" pitchFamily="2" charset="2"/>
              <a:buChar char=""/>
              <a:tabLst/>
              <a:defRPr sz="1020" b="0"/>
            </a:lvl3pPr>
            <a:lvl4pPr marL="528267" indent="-112333">
              <a:buFont typeface="Wingdings" panose="05000000000000000000" pitchFamily="2" charset="2"/>
              <a:buChar char=""/>
              <a:defRPr sz="893" b="0"/>
            </a:lvl4pPr>
            <a:lvl5pPr marL="652745" indent="-108284">
              <a:buFont typeface="Wingdings" panose="05000000000000000000" pitchFamily="2" charset="2"/>
              <a:buChar char=""/>
              <a:tabLst/>
              <a:defRPr sz="893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3571" y="2108305"/>
            <a:ext cx="3322701" cy="1028358"/>
          </a:xfrm>
        </p:spPr>
        <p:txBody>
          <a:bodyPr wrap="square">
            <a:spAutoFit/>
          </a:bodyPr>
          <a:lstStyle>
            <a:lvl1pPr marL="147753" indent="-147753">
              <a:spcBef>
                <a:spcPts val="78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1785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72230" indent="-109297">
              <a:buFont typeface="Wingdings" panose="05000000000000000000" pitchFamily="2" charset="2"/>
              <a:buChar char=""/>
              <a:defRPr sz="1275" b="0"/>
            </a:lvl2pPr>
            <a:lvl3pPr marL="407839" indent="-120429">
              <a:buFont typeface="Wingdings" panose="05000000000000000000" pitchFamily="2" charset="2"/>
              <a:buChar char=""/>
              <a:tabLst/>
              <a:defRPr sz="1020" b="0"/>
            </a:lvl3pPr>
            <a:lvl4pPr marL="528267" indent="-112333">
              <a:buFont typeface="Wingdings" panose="05000000000000000000" pitchFamily="2" charset="2"/>
              <a:buChar char=""/>
              <a:defRPr sz="893" b="0"/>
            </a:lvl4pPr>
            <a:lvl5pPr marL="652745" indent="-108284">
              <a:buFont typeface="Wingdings" panose="05000000000000000000" pitchFamily="2" charset="2"/>
              <a:buChar char=""/>
              <a:tabLst/>
              <a:defRPr sz="893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014652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17" y="2571552"/>
            <a:ext cx="7024307" cy="35317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D9D034-6DAB-45D9-8AD4-368FF5C517C7}"/>
              </a:ext>
            </a:extLst>
          </p:cNvPr>
          <p:cNvSpPr/>
          <p:nvPr userDrawn="1"/>
        </p:nvSpPr>
        <p:spPr bwMode="auto">
          <a:xfrm>
            <a:off x="0" y="-1"/>
            <a:ext cx="7772400" cy="189728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87511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96284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5017" y="2107145"/>
            <a:ext cx="7024307" cy="1255857"/>
          </a:xfrm>
        </p:spPr>
        <p:txBody>
          <a:bodyPr/>
          <a:lstStyle>
            <a:lvl1pPr marL="0" indent="0">
              <a:buNone/>
              <a:defRPr sz="204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220922" indent="0">
              <a:buNone/>
              <a:defRPr sz="153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372677" indent="0">
              <a:buNone/>
              <a:defRPr sz="1275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519271" indent="0">
              <a:buNone/>
              <a:defRPr sz="1148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669994" indent="0">
              <a:buNone/>
              <a:defRPr sz="1148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</p:spTree>
    <p:extLst>
      <p:ext uri="{BB962C8B-B14F-4D97-AF65-F5344CB8AC3E}">
        <p14:creationId xmlns:p14="http://schemas.microsoft.com/office/powerpoint/2010/main" val="29595482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7772400" cy="100584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75017" y="670562"/>
            <a:ext cx="7024307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372427" y="2105407"/>
            <a:ext cx="7024307" cy="10283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373075" cy="858317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586" tIns="93269" rIns="116586" bIns="932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59443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3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186538" cy="42915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586" tIns="93269" rIns="116586" bIns="932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59443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3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21B694C2-DD4A-41A4-B850-FA715BEE8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762"/>
          <a:stretch/>
        </p:blipFill>
        <p:spPr>
          <a:xfrm rot="5400000">
            <a:off x="5111280" y="2961339"/>
            <a:ext cx="6858000" cy="1170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818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>
    <p:fade/>
  </p:transition>
  <p:hf sldNum="0" hdr="0" ftr="0" dt="0"/>
  <p:txStyles>
    <p:titleStyle>
      <a:lvl1pPr algn="l" defTabSz="594608" rtl="0" eaLnBrk="1" latinLnBrk="0" hangingPunct="1">
        <a:lnSpc>
          <a:spcPct val="100000"/>
        </a:lnSpc>
        <a:spcBef>
          <a:spcPct val="0"/>
        </a:spcBef>
        <a:buNone/>
        <a:defRPr lang="en-US" sz="2295" b="1" kern="1200" cap="none" spc="-33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45729" marR="0" indent="-145729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78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291458" marR="0" indent="-145729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27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418971" marR="0" indent="-127513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0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537376" marR="0" indent="-115368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89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652745" marR="0" indent="-107272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89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635172" indent="-148653" algn="l" defTabSz="594608" rtl="0" eaLnBrk="1" latinLnBrk="0" hangingPunct="1">
        <a:spcBef>
          <a:spcPct val="20000"/>
        </a:spcBef>
        <a:buFont typeface="Arial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1932477" indent="-148653" algn="l" defTabSz="594608" rtl="0" eaLnBrk="1" latinLnBrk="0" hangingPunct="1">
        <a:spcBef>
          <a:spcPct val="20000"/>
        </a:spcBef>
        <a:buFont typeface="Arial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229781" indent="-148653" algn="l" defTabSz="594608" rtl="0" eaLnBrk="1" latinLnBrk="0" hangingPunct="1">
        <a:spcBef>
          <a:spcPct val="20000"/>
        </a:spcBef>
        <a:buFont typeface="Arial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527086" indent="-148653" algn="l" defTabSz="594608" rtl="0" eaLnBrk="1" latinLnBrk="0" hangingPunct="1">
        <a:spcBef>
          <a:spcPct val="20000"/>
        </a:spcBef>
        <a:buFont typeface="Arial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7304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94608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91912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89216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86521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83825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81129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78433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63BF728C-F166-4372-B3F1-54D9D21E5F67}"/>
              </a:ext>
            </a:extLst>
          </p:cNvPr>
          <p:cNvSpPr txBox="1">
            <a:spLocks/>
          </p:cNvSpPr>
          <p:nvPr/>
        </p:nvSpPr>
        <p:spPr bwMode="black">
          <a:xfrm>
            <a:off x="1703687" y="855287"/>
            <a:ext cx="4713350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59460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95" b="1" kern="1200" cap="none" spc="-33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fontAlgn="ctr"/>
            <a:r>
              <a:rPr lang="en-US" sz="24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Governance, Risk, &amp; Compliance</a:t>
            </a:r>
            <a:br>
              <a:rPr lang="en-US" sz="24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</a:br>
            <a:r>
              <a:rPr lang="en-US" sz="1800" spc="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n-lt"/>
              </a:rPr>
              <a:t>Clear Lines of Responsibility </a:t>
            </a:r>
            <a:endParaRPr lang="en-US" sz="2400" spc="0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latin typeface="+mn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43D343A-5692-4FFB-9B48-37EEAAD8609B}"/>
              </a:ext>
            </a:extLst>
          </p:cNvPr>
          <p:cNvSpPr/>
          <p:nvPr/>
        </p:nvSpPr>
        <p:spPr bwMode="invGray">
          <a:xfrm>
            <a:off x="434341" y="694477"/>
            <a:ext cx="987920" cy="987920"/>
          </a:xfrm>
          <a:prstGeom prst="ellipse">
            <a:avLst/>
          </a:prstGeom>
          <a:noFill/>
          <a:ln w="22225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4BBF76A4-39AE-4256-BAA8-4C37FA1CE3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invGray">
          <a:xfrm>
            <a:off x="478343" y="738478"/>
            <a:ext cx="899917" cy="899917"/>
          </a:xfrm>
          <a:prstGeom prst="rect">
            <a:avLst/>
          </a:prstGeom>
        </p:spPr>
      </p:pic>
      <p:sp>
        <p:nvSpPr>
          <p:cNvPr id="7" name="key">
            <a:extLst>
              <a:ext uri="{FF2B5EF4-FFF2-40B4-BE49-F238E27FC236}">
                <a16:creationId xmlns:a16="http://schemas.microsoft.com/office/drawing/2014/main" id="{7089A194-DB3E-4206-B11E-C491A841EBB1}"/>
              </a:ext>
            </a:extLst>
          </p:cNvPr>
          <p:cNvSpPr>
            <a:spLocks noChangeAspect="1" noEditPoints="1"/>
          </p:cNvSpPr>
          <p:nvPr/>
        </p:nvSpPr>
        <p:spPr bwMode="white">
          <a:xfrm rot="2700000">
            <a:off x="870782" y="1132373"/>
            <a:ext cx="112705" cy="112127"/>
          </a:xfrm>
          <a:custGeom>
            <a:avLst/>
            <a:gdLst>
              <a:gd name="T0" fmla="*/ 175 w 330"/>
              <a:gd name="T1" fmla="*/ 198 h 328"/>
              <a:gd name="T2" fmla="*/ 109 w 330"/>
              <a:gd name="T3" fmla="*/ 220 h 328"/>
              <a:gd name="T4" fmla="*/ 0 w 330"/>
              <a:gd name="T5" fmla="*/ 110 h 328"/>
              <a:gd name="T6" fmla="*/ 109 w 330"/>
              <a:gd name="T7" fmla="*/ 0 h 328"/>
              <a:gd name="T8" fmla="*/ 219 w 330"/>
              <a:gd name="T9" fmla="*/ 110 h 328"/>
              <a:gd name="T10" fmla="*/ 214 w 330"/>
              <a:gd name="T11" fmla="*/ 143 h 328"/>
              <a:gd name="T12" fmla="*/ 330 w 330"/>
              <a:gd name="T13" fmla="*/ 258 h 328"/>
              <a:gd name="T14" fmla="*/ 330 w 330"/>
              <a:gd name="T15" fmla="*/ 328 h 328"/>
              <a:gd name="T16" fmla="*/ 264 w 330"/>
              <a:gd name="T17" fmla="*/ 328 h 328"/>
              <a:gd name="T18" fmla="*/ 264 w 330"/>
              <a:gd name="T19" fmla="*/ 283 h 328"/>
              <a:gd name="T20" fmla="*/ 221 w 330"/>
              <a:gd name="T21" fmla="*/ 283 h 328"/>
              <a:gd name="T22" fmla="*/ 221 w 330"/>
              <a:gd name="T23" fmla="*/ 239 h 328"/>
              <a:gd name="T24" fmla="*/ 175 w 330"/>
              <a:gd name="T25" fmla="*/ 239 h 328"/>
              <a:gd name="T26" fmla="*/ 175 w 330"/>
              <a:gd name="T27" fmla="*/ 198 h 328"/>
              <a:gd name="T28" fmla="*/ 76 w 330"/>
              <a:gd name="T29" fmla="*/ 91 h 328"/>
              <a:gd name="T30" fmla="*/ 91 w 330"/>
              <a:gd name="T31" fmla="*/ 76 h 328"/>
              <a:gd name="T32" fmla="*/ 76 w 330"/>
              <a:gd name="T33" fmla="*/ 60 h 328"/>
              <a:gd name="T34" fmla="*/ 60 w 330"/>
              <a:gd name="T35" fmla="*/ 76 h 328"/>
              <a:gd name="T36" fmla="*/ 76 w 330"/>
              <a:gd name="T37" fmla="*/ 91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30" h="328">
                <a:moveTo>
                  <a:pt x="175" y="198"/>
                </a:moveTo>
                <a:cubicBezTo>
                  <a:pt x="157" y="212"/>
                  <a:pt x="134" y="220"/>
                  <a:pt x="109" y="220"/>
                </a:cubicBezTo>
                <a:cubicBezTo>
                  <a:pt x="49" y="220"/>
                  <a:pt x="0" y="171"/>
                  <a:pt x="0" y="110"/>
                </a:cubicBezTo>
                <a:cubicBezTo>
                  <a:pt x="0" y="49"/>
                  <a:pt x="49" y="0"/>
                  <a:pt x="109" y="0"/>
                </a:cubicBezTo>
                <a:cubicBezTo>
                  <a:pt x="170" y="0"/>
                  <a:pt x="219" y="49"/>
                  <a:pt x="219" y="110"/>
                </a:cubicBezTo>
                <a:cubicBezTo>
                  <a:pt x="219" y="122"/>
                  <a:pt x="217" y="133"/>
                  <a:pt x="214" y="143"/>
                </a:cubicBezTo>
                <a:cubicBezTo>
                  <a:pt x="330" y="258"/>
                  <a:pt x="330" y="258"/>
                  <a:pt x="330" y="258"/>
                </a:cubicBezTo>
                <a:cubicBezTo>
                  <a:pt x="330" y="328"/>
                  <a:pt x="330" y="328"/>
                  <a:pt x="330" y="328"/>
                </a:cubicBezTo>
                <a:cubicBezTo>
                  <a:pt x="264" y="328"/>
                  <a:pt x="264" y="328"/>
                  <a:pt x="264" y="328"/>
                </a:cubicBezTo>
                <a:cubicBezTo>
                  <a:pt x="264" y="283"/>
                  <a:pt x="264" y="283"/>
                  <a:pt x="264" y="283"/>
                </a:cubicBezTo>
                <a:cubicBezTo>
                  <a:pt x="221" y="283"/>
                  <a:pt x="221" y="283"/>
                  <a:pt x="221" y="283"/>
                </a:cubicBezTo>
                <a:cubicBezTo>
                  <a:pt x="221" y="239"/>
                  <a:pt x="221" y="239"/>
                  <a:pt x="221" y="239"/>
                </a:cubicBezTo>
                <a:cubicBezTo>
                  <a:pt x="175" y="239"/>
                  <a:pt x="175" y="239"/>
                  <a:pt x="175" y="239"/>
                </a:cubicBezTo>
                <a:lnTo>
                  <a:pt x="175" y="198"/>
                </a:lnTo>
                <a:close/>
                <a:moveTo>
                  <a:pt x="76" y="91"/>
                </a:moveTo>
                <a:cubicBezTo>
                  <a:pt x="84" y="91"/>
                  <a:pt x="91" y="84"/>
                  <a:pt x="91" y="76"/>
                </a:cubicBezTo>
                <a:cubicBezTo>
                  <a:pt x="91" y="67"/>
                  <a:pt x="84" y="60"/>
                  <a:pt x="76" y="60"/>
                </a:cubicBezTo>
                <a:cubicBezTo>
                  <a:pt x="67" y="60"/>
                  <a:pt x="60" y="67"/>
                  <a:pt x="60" y="76"/>
                </a:cubicBezTo>
                <a:cubicBezTo>
                  <a:pt x="60" y="84"/>
                  <a:pt x="67" y="91"/>
                  <a:pt x="76" y="91"/>
                </a:cubicBezTo>
                <a:close/>
              </a:path>
            </a:pathLst>
          </a:custGeom>
          <a:solidFill>
            <a:schemeClr val="accent2"/>
          </a:solidFill>
          <a:ln w="22225" cap="sq">
            <a:solidFill>
              <a:schemeClr val="accent2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125953-4B5D-4E12-809E-98A02A6E8761}"/>
              </a:ext>
            </a:extLst>
          </p:cNvPr>
          <p:cNvSpPr txBox="1"/>
          <p:nvPr/>
        </p:nvSpPr>
        <p:spPr>
          <a:xfrm>
            <a:off x="434341" y="2198352"/>
            <a:ext cx="688086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>
                <a:gradFill>
                  <a:gsLst>
                    <a:gs pos="2917">
                      <a:schemeClr val="accent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e this worksheet to designate the parties responsible for specific functions in Azure. </a:t>
            </a:r>
            <a:br>
              <a:rPr lang="en-US" sz="1200" dirty="0">
                <a:gradFill>
                  <a:gsLst>
                    <a:gs pos="2917">
                      <a:schemeClr val="accent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100" dirty="0">
                <a:gradFill>
                  <a:gsLst>
                    <a:gs pos="2917">
                      <a:schemeClr val="accent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sistent procedures will avoid confusion that can lead to human and automation errors which increases an organization’s security risk. </a:t>
            </a:r>
          </a:p>
          <a:p>
            <a:pPr>
              <a:spcAft>
                <a:spcPts val="600"/>
              </a:spcAft>
            </a:pPr>
            <a:r>
              <a:rPr lang="en-US" sz="1100" i="1" dirty="0">
                <a:gradFill>
                  <a:gsLst>
                    <a:gs pos="2917">
                      <a:schemeClr val="accent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Most organizations map these closely to current on premises models. 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6924EE1C-A831-40F5-9716-FBC7B73E14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883030"/>
              </p:ext>
            </p:extLst>
          </p:nvPr>
        </p:nvGraphicFramePr>
        <p:xfrm>
          <a:off x="0" y="3230392"/>
          <a:ext cx="7772399" cy="587464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840523">
                  <a:extLst>
                    <a:ext uri="{9D8B030D-6E8A-4147-A177-3AD203B41FA5}">
                      <a16:colId xmlns:a16="http://schemas.microsoft.com/office/drawing/2014/main" val="131552263"/>
                    </a:ext>
                  </a:extLst>
                </a:gridCol>
                <a:gridCol w="3280117">
                  <a:extLst>
                    <a:ext uri="{9D8B030D-6E8A-4147-A177-3AD203B41FA5}">
                      <a16:colId xmlns:a16="http://schemas.microsoft.com/office/drawing/2014/main" val="3754447473"/>
                    </a:ext>
                  </a:extLst>
                </a:gridCol>
                <a:gridCol w="2651759">
                  <a:extLst>
                    <a:ext uri="{9D8B030D-6E8A-4147-A177-3AD203B41FA5}">
                      <a16:colId xmlns:a16="http://schemas.microsoft.com/office/drawing/2014/main" val="672224301"/>
                    </a:ext>
                  </a:extLst>
                </a:gridCol>
              </a:tblGrid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Network Security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existing network security team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Configuration and maintenance of Azure Firewall, Network Virtual Appliances (and associated routing), WAFs, NSGs, ASGs, etc.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292330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Network Management 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existing network operations team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Enterprise-wide virtual network and subnet allocation 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715275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Server Endpoint Security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IT operations, security, or jointly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Monitor and remediate server security (patching, configuration, endpoint security, etc.) 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744836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Incident Monitoring </a:t>
                      </a:r>
                      <a:b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and Response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security operations team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Investigate and remediate security incidents in SIEM </a:t>
                      </a:r>
                      <a:b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or source console:</a:t>
                      </a:r>
                    </a:p>
                    <a:p>
                      <a:pPr marL="117475" indent="-117475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Azure Security Center</a:t>
                      </a:r>
                    </a:p>
                    <a:p>
                      <a:pPr marL="117475" indent="-117475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Azure AD Identity Protection 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667316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Policy Management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GRC team + Architecture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Set Direction for use of Roles Based Access Control (RBAC), Azure Security Center, Administrator protection strategy, </a:t>
                      </a:r>
                      <a:b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and Azure Policy to govern Azure resources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878721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Identity Security and Standards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Security Team + Identity Team Jointly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Set direction for Azure AD directories, PIM/PAM </a:t>
                      </a:r>
                      <a:b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usage, MFA, password/synchronization configuration, Application Identity Standards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61509"/>
                  </a:ext>
                </a:extLst>
              </a:tr>
            </a:tbl>
          </a:graphicData>
        </a:graphic>
      </p:graphicFrame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CF37D25-F842-4F2A-832E-57E470C90E95}"/>
              </a:ext>
            </a:extLst>
          </p:cNvPr>
          <p:cNvSpPr/>
          <p:nvPr/>
        </p:nvSpPr>
        <p:spPr bwMode="auto">
          <a:xfrm>
            <a:off x="414130" y="9363923"/>
            <a:ext cx="7386405" cy="442232"/>
          </a:xfrm>
          <a:custGeom>
            <a:avLst/>
            <a:gdLst>
              <a:gd name="connsiteX0" fmla="*/ 277401 w 7440193"/>
              <a:gd name="connsiteY0" fmla="*/ 0 h 602792"/>
              <a:gd name="connsiteX1" fmla="*/ 301396 w 7440193"/>
              <a:gd name="connsiteY1" fmla="*/ 0 h 602792"/>
              <a:gd name="connsiteX2" fmla="*/ 7440193 w 7440193"/>
              <a:gd name="connsiteY2" fmla="*/ 0 h 602792"/>
              <a:gd name="connsiteX3" fmla="*/ 7440193 w 7440193"/>
              <a:gd name="connsiteY3" fmla="*/ 602792 h 602792"/>
              <a:gd name="connsiteX4" fmla="*/ 301396 w 7440193"/>
              <a:gd name="connsiteY4" fmla="*/ 602792 h 602792"/>
              <a:gd name="connsiteX5" fmla="*/ 277401 w 7440193"/>
              <a:gd name="connsiteY5" fmla="*/ 602792 h 602792"/>
              <a:gd name="connsiteX6" fmla="*/ 277401 w 7440193"/>
              <a:gd name="connsiteY6" fmla="*/ 600373 h 602792"/>
              <a:gd name="connsiteX7" fmla="*/ 240654 w 7440193"/>
              <a:gd name="connsiteY7" fmla="*/ 596669 h 602792"/>
              <a:gd name="connsiteX8" fmla="*/ 0 w 7440193"/>
              <a:gd name="connsiteY8" fmla="*/ 301396 h 602792"/>
              <a:gd name="connsiteX9" fmla="*/ 240654 w 7440193"/>
              <a:gd name="connsiteY9" fmla="*/ 6123 h 602792"/>
              <a:gd name="connsiteX10" fmla="*/ 277401 w 7440193"/>
              <a:gd name="connsiteY10" fmla="*/ 2419 h 602792"/>
              <a:gd name="connsiteX0" fmla="*/ 223613 w 7386405"/>
              <a:gd name="connsiteY0" fmla="*/ 0 h 602792"/>
              <a:gd name="connsiteX1" fmla="*/ 247608 w 7386405"/>
              <a:gd name="connsiteY1" fmla="*/ 0 h 602792"/>
              <a:gd name="connsiteX2" fmla="*/ 7386405 w 7386405"/>
              <a:gd name="connsiteY2" fmla="*/ 0 h 602792"/>
              <a:gd name="connsiteX3" fmla="*/ 7386405 w 7386405"/>
              <a:gd name="connsiteY3" fmla="*/ 602792 h 602792"/>
              <a:gd name="connsiteX4" fmla="*/ 247608 w 7386405"/>
              <a:gd name="connsiteY4" fmla="*/ 602792 h 602792"/>
              <a:gd name="connsiteX5" fmla="*/ 223613 w 7386405"/>
              <a:gd name="connsiteY5" fmla="*/ 602792 h 602792"/>
              <a:gd name="connsiteX6" fmla="*/ 223613 w 7386405"/>
              <a:gd name="connsiteY6" fmla="*/ 600373 h 602792"/>
              <a:gd name="connsiteX7" fmla="*/ 186866 w 7386405"/>
              <a:gd name="connsiteY7" fmla="*/ 596669 h 602792"/>
              <a:gd name="connsiteX8" fmla="*/ 0 w 7386405"/>
              <a:gd name="connsiteY8" fmla="*/ 301396 h 602792"/>
              <a:gd name="connsiteX9" fmla="*/ 186866 w 7386405"/>
              <a:gd name="connsiteY9" fmla="*/ 6123 h 602792"/>
              <a:gd name="connsiteX10" fmla="*/ 223613 w 7386405"/>
              <a:gd name="connsiteY10" fmla="*/ 2419 h 602792"/>
              <a:gd name="connsiteX11" fmla="*/ 223613 w 7386405"/>
              <a:gd name="connsiteY11" fmla="*/ 0 h 60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86405" h="602792">
                <a:moveTo>
                  <a:pt x="223613" y="0"/>
                </a:moveTo>
                <a:lnTo>
                  <a:pt x="247608" y="0"/>
                </a:lnTo>
                <a:lnTo>
                  <a:pt x="7386405" y="0"/>
                </a:lnTo>
                <a:lnTo>
                  <a:pt x="7386405" y="602792"/>
                </a:lnTo>
                <a:lnTo>
                  <a:pt x="247608" y="602792"/>
                </a:lnTo>
                <a:lnTo>
                  <a:pt x="223613" y="602792"/>
                </a:lnTo>
                <a:lnTo>
                  <a:pt x="223613" y="600373"/>
                </a:lnTo>
                <a:lnTo>
                  <a:pt x="186866" y="596669"/>
                </a:lnTo>
                <a:cubicBezTo>
                  <a:pt x="49526" y="568565"/>
                  <a:pt x="0" y="447045"/>
                  <a:pt x="0" y="301396"/>
                </a:cubicBezTo>
                <a:cubicBezTo>
                  <a:pt x="0" y="155747"/>
                  <a:pt x="49526" y="34227"/>
                  <a:pt x="186866" y="6123"/>
                </a:cubicBezTo>
                <a:lnTo>
                  <a:pt x="223613" y="2419"/>
                </a:lnTo>
                <a:lnTo>
                  <a:pt x="223613" y="0"/>
                </a:ln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0" tIns="45720" rIns="18288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i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</a:rPr>
              <a:t>Document and socialize this widely with all teams working on Azure</a:t>
            </a:r>
          </a:p>
        </p:txBody>
      </p:sp>
      <p:sp>
        <p:nvSpPr>
          <p:cNvPr id="18" name="light" title="Icon of a lightbulb">
            <a:extLst>
              <a:ext uri="{FF2B5EF4-FFF2-40B4-BE49-F238E27FC236}">
                <a16:creationId xmlns:a16="http://schemas.microsoft.com/office/drawing/2014/main" id="{1F271BD5-06ED-49EC-91A0-DF18B1FA5069}"/>
              </a:ext>
            </a:extLst>
          </p:cNvPr>
          <p:cNvSpPr>
            <a:spLocks noChangeAspect="1" noEditPoints="1"/>
          </p:cNvSpPr>
          <p:nvPr/>
        </p:nvSpPr>
        <p:spPr bwMode="invGray">
          <a:xfrm>
            <a:off x="553925" y="9443677"/>
            <a:ext cx="180883" cy="268550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19050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4F3A54-FCA2-442B-9852-896153DD87E7}"/>
              </a:ext>
            </a:extLst>
          </p:cNvPr>
          <p:cNvSpPr txBox="1"/>
          <p:nvPr/>
        </p:nvSpPr>
        <p:spPr bwMode="invGray">
          <a:xfrm>
            <a:off x="844863" y="9369519"/>
            <a:ext cx="7123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Tip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E356330-48CE-405F-A6EE-77FEB636E09C}"/>
              </a:ext>
            </a:extLst>
          </p:cNvPr>
          <p:cNvGrpSpPr/>
          <p:nvPr/>
        </p:nvGrpSpPr>
        <p:grpSpPr bwMode="invGray">
          <a:xfrm>
            <a:off x="434341" y="264277"/>
            <a:ext cx="1064804" cy="228600"/>
            <a:chOff x="6337038" y="264277"/>
            <a:chExt cx="1064804" cy="228600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2ED5CD2C-12FF-4E29-9FDD-87A1528F9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 bwMode="invGray">
            <a:xfrm>
              <a:off x="6337038" y="264277"/>
              <a:ext cx="228601" cy="228600"/>
            </a:xfrm>
            <a:prstGeom prst="rect">
              <a:avLst/>
            </a:prstGeom>
          </p:spPr>
        </p:pic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DB94C702-A5D5-4D29-BAD2-1966DF9814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6632420" y="299666"/>
              <a:ext cx="769422" cy="150576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847517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M_TT_White_SoftBlack_Jan_26_2018" id="{8C2B2DB0-CA94-4312-A852-89275F4C41DC}" vid="{4904910A-0348-489F-A9AA-56F184D31B0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5</TotalTime>
  <Words>162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onsolas</vt:lpstr>
      <vt:lpstr>Segoe UI</vt:lpstr>
      <vt:lpstr>Segoe UI Semibold</vt:lpstr>
      <vt:lpstr>Segoe UI Semilight</vt:lpstr>
      <vt:lpstr>Wingdings</vt:lpstr>
      <vt:lpstr>1_WHITE TEMPLAT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ts</dc:creator>
  <cp:lastModifiedBy>Watts</cp:lastModifiedBy>
  <cp:revision>12</cp:revision>
  <cp:lastPrinted>2019-02-11T14:34:30Z</cp:lastPrinted>
  <dcterms:created xsi:type="dcterms:W3CDTF">2019-02-07T18:30:17Z</dcterms:created>
  <dcterms:modified xsi:type="dcterms:W3CDTF">2019-02-14T21:56:35Z</dcterms:modified>
</cp:coreProperties>
</file>